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269" r:id="rId3"/>
    <p:sldId id="258" r:id="rId4"/>
    <p:sldId id="291" r:id="rId5"/>
    <p:sldId id="292" r:id="rId6"/>
    <p:sldId id="293" r:id="rId7"/>
    <p:sldId id="294" r:id="rId8"/>
    <p:sldId id="295" r:id="rId9"/>
    <p:sldId id="296" r:id="rId10"/>
    <p:sldId id="298" r:id="rId11"/>
    <p:sldId id="299" r:id="rId12"/>
    <p:sldId id="290" r:id="rId13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82C4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4" autoAdjust="0"/>
    <p:restoredTop sz="96182" autoAdjust="0"/>
  </p:normalViewPr>
  <p:slideViewPr>
    <p:cSldViewPr snapToGrid="0">
      <p:cViewPr varScale="1">
        <p:scale>
          <a:sx n="85" d="100"/>
          <a:sy n="85" d="100"/>
        </p:scale>
        <p:origin x="108" y="22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5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5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>
            <a:extLst>
              <a:ext uri="{FF2B5EF4-FFF2-40B4-BE49-F238E27FC236}">
                <a16:creationId xmlns:a16="http://schemas.microsoft.com/office/drawing/2014/main" id="{4BD5FF6C-C1A7-4694-B411-7F2D35FA2B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41399" y="5633743"/>
            <a:ext cx="7175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3F82C4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041399" y="3086100"/>
            <a:ext cx="7175501" cy="223778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3F82C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31199" y="3086100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31199" y="3382371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F437F7F4-1FCE-41E3-AD73-422591351B80}"/>
              </a:ext>
            </a:extLst>
          </p:cNvPr>
          <p:cNvCxnSpPr>
            <a:cxnSpLocks/>
          </p:cNvCxnSpPr>
          <p:nvPr userDrawn="1"/>
        </p:nvCxnSpPr>
        <p:spPr>
          <a:xfrm>
            <a:off x="1041399" y="5511167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3520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353214" y="373308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>
            <a:extLst>
              <a:ext uri="{FF2B5EF4-FFF2-40B4-BE49-F238E27FC236}">
                <a16:creationId xmlns:a16="http://schemas.microsoft.com/office/drawing/2014/main" id="{B7D6BB0D-1595-4A59-AECB-39EA90A029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9" r="65582"/>
          <a:stretch/>
        </p:blipFill>
        <p:spPr>
          <a:xfrm flipH="1" flipV="1">
            <a:off x="8013701" y="0"/>
            <a:ext cx="4178299" cy="6858000"/>
          </a:xfrm>
          <a:prstGeom prst="rect">
            <a:avLst/>
          </a:prstGeom>
        </p:spPr>
      </p:pic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A8405070-878E-49F8-BBAE-9582FC3F7F0C}"/>
              </a:ext>
            </a:extLst>
          </p:cNvPr>
          <p:cNvCxnSpPr>
            <a:cxnSpLocks/>
          </p:cNvCxnSpPr>
          <p:nvPr userDrawn="1"/>
        </p:nvCxnSpPr>
        <p:spPr>
          <a:xfrm>
            <a:off x="2352098" y="3590746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5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5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>
            <a:extLst>
              <a:ext uri="{FF2B5EF4-FFF2-40B4-BE49-F238E27FC236}">
                <a16:creationId xmlns:a16="http://schemas.microsoft.com/office/drawing/2014/main" id="{CDBEFD66-129D-4686-8E63-DBC5380EC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2" y="3001963"/>
            <a:ext cx="64261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2" y="5308199"/>
            <a:ext cx="64261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6204" y="5011928"/>
            <a:ext cx="64261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4DE2D5B4-CE35-4F64-ACE1-F6BA22748CB6}"/>
              </a:ext>
            </a:extLst>
          </p:cNvPr>
          <p:cNvCxnSpPr>
            <a:cxnSpLocks/>
          </p:cNvCxnSpPr>
          <p:nvPr userDrawn="1"/>
        </p:nvCxnSpPr>
        <p:spPr>
          <a:xfrm>
            <a:off x="1346202" y="4850767"/>
            <a:ext cx="6426198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2/5/9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ŝľ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ṡļiḑè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îšľïdé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śḻîḋ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ś1ïḋe"/>
          <p:cNvSpPr>
            <a:spLocks noGrp="1"/>
          </p:cNvSpPr>
          <p:nvPr>
            <p:ph type="subTitle" idx="1"/>
          </p:nvPr>
        </p:nvSpPr>
        <p:spPr>
          <a:xfrm>
            <a:off x="929104" y="5633743"/>
            <a:ext cx="7958222" cy="558799"/>
          </a:xfrm>
        </p:spPr>
        <p:txBody>
          <a:bodyPr/>
          <a:lstStyle/>
          <a:p>
            <a:pPr lvl="0">
              <a:defRPr/>
            </a:pPr>
            <a:r>
              <a:rPr lang="en-US" altLang="zh-CN" spc="600">
                <a:solidFill>
                  <a:srgbClr val="D1E1EB"/>
                </a:solidFill>
              </a:rPr>
              <a:t>REPORT OF SOFTWARE ENGINEERING PROJECT</a:t>
            </a:r>
            <a:endParaRPr lang="en-US" altLang="zh-CN" spc="600" dirty="0">
              <a:solidFill>
                <a:srgbClr val="D1E1EB"/>
              </a:solidFill>
            </a:endParaRPr>
          </a:p>
        </p:txBody>
      </p:sp>
      <p:sp>
        <p:nvSpPr>
          <p:cNvPr id="4" name="iŝliďé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en-US" altLang="zh-CN" sz="4400" b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</a:t>
            </a:r>
            <a:r>
              <a:rPr lang="zh-CN" altLang="en-US" sz="4400" b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组软件工程综合实验汇报</a:t>
            </a:r>
            <a:endParaRPr lang="zh-CN" altLang="en-US" sz="4400" b="0" dirty="0">
              <a:solidFill>
                <a:schemeClr val="tx1"/>
              </a:solidFill>
              <a:latin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işļîḋê"/>
          <p:cNvSpPr>
            <a:spLocks noGrp="1"/>
          </p:cNvSpPr>
          <p:nvPr>
            <p:ph type="body" sz="quarter" idx="10"/>
          </p:nvPr>
        </p:nvSpPr>
        <p:spPr>
          <a:xfrm>
            <a:off x="6321925" y="6176789"/>
            <a:ext cx="2565401" cy="245363"/>
          </a:xfrm>
        </p:spPr>
        <p:txBody>
          <a:bodyPr/>
          <a:lstStyle/>
          <a:p>
            <a:r>
              <a:rPr lang="en-US" altLang="zh-CN" sz="2000"/>
              <a:t>2022.5.9</a:t>
            </a:r>
            <a:endParaRPr lang="en-US" altLang="zh-CN" sz="2000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l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sľiḓé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代码重构</a:t>
            </a:r>
          </a:p>
        </p:txBody>
      </p:sp>
      <p:sp>
        <p:nvSpPr>
          <p:cNvPr id="9" name="ïŝľîḓ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09806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内容占位符 2">
            <a:extLst>
              <a:ext uri="{FF2B5EF4-FFF2-40B4-BE49-F238E27FC236}">
                <a16:creationId xmlns:a16="http://schemas.microsoft.com/office/drawing/2014/main" id="{5E210E1A-0AD0-4994-BD42-2233EDBF1676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177" lvl="1" indent="0">
              <a:buNone/>
            </a:pPr>
            <a:endParaRPr lang="en-US" altLang="zh-CN" sz="2200" dirty="0">
              <a:latin typeface="+mn-ea"/>
            </a:endParaRPr>
          </a:p>
          <a:p>
            <a:pPr lvl="1"/>
            <a:endParaRPr lang="en-US" altLang="zh-CN" sz="2200" dirty="0">
              <a:latin typeface="+mn-ea"/>
            </a:endParaRPr>
          </a:p>
        </p:txBody>
      </p:sp>
      <p:sp>
        <p:nvSpPr>
          <p:cNvPr id="5" name="ïṣ1îḑe">
            <a:extLst>
              <a:ext uri="{FF2B5EF4-FFF2-40B4-BE49-F238E27FC236}">
                <a16:creationId xmlns:a16="http://schemas.microsoft.com/office/drawing/2014/main" id="{996AA75B-C4DF-4CDE-A51F-EEDCF33D15E2}"/>
              </a:ext>
            </a:extLst>
          </p:cNvPr>
          <p:cNvSpPr txBox="1">
            <a:spLocks/>
          </p:cNvSpPr>
          <p:nvPr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代码重构</a:t>
            </a:r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BA03F8DB-CF5C-42C8-9DBB-C00A5F5228EE}"/>
              </a:ext>
            </a:extLst>
          </p:cNvPr>
          <p:cNvSpPr txBox="1">
            <a:spLocks/>
          </p:cNvSpPr>
          <p:nvPr/>
        </p:nvSpPr>
        <p:spPr>
          <a:xfrm>
            <a:off x="625474" y="15297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>
                <a:latin typeface="+mn-ea"/>
              </a:rPr>
              <a:t>委托：</a:t>
            </a:r>
            <a:endParaRPr lang="en-US" altLang="zh-CN" sz="2400" dirty="0">
              <a:latin typeface="+mn-ea"/>
            </a:endParaRPr>
          </a:p>
          <a:p>
            <a:pPr lvl="1"/>
            <a:r>
              <a:rPr lang="zh-CN" altLang="en-US" sz="2200" dirty="0">
                <a:latin typeface="+mn-ea"/>
              </a:rPr>
              <a:t>两重审核</a:t>
            </a:r>
            <a:endParaRPr lang="en-US" altLang="zh-CN" sz="2200" dirty="0">
              <a:latin typeface="+mn-ea"/>
            </a:endParaRPr>
          </a:p>
          <a:p>
            <a:pPr lvl="1"/>
            <a:r>
              <a:rPr lang="zh-CN" altLang="en-US" sz="2200" dirty="0">
                <a:latin typeface="+mn-ea"/>
              </a:rPr>
              <a:t>报价单</a:t>
            </a:r>
            <a:endParaRPr lang="en-US" altLang="zh-CN" sz="2200" dirty="0">
              <a:latin typeface="+mn-ea"/>
            </a:endParaRPr>
          </a:p>
          <a:p>
            <a:pPr lvl="1"/>
            <a:r>
              <a:rPr lang="zh-CN" altLang="en-US" sz="2200" dirty="0">
                <a:latin typeface="+mn-ea"/>
              </a:rPr>
              <a:t>文档评审表</a:t>
            </a:r>
            <a:endParaRPr lang="en-US" altLang="zh-CN" sz="2200" dirty="0">
              <a:latin typeface="+mn-ea"/>
            </a:endParaRPr>
          </a:p>
          <a:p>
            <a:r>
              <a:rPr lang="zh-CN" altLang="en-US" sz="2400" dirty="0">
                <a:latin typeface="+mn-ea"/>
              </a:rPr>
              <a:t>合同：</a:t>
            </a:r>
            <a:endParaRPr lang="en-US" altLang="zh-CN" sz="2400" dirty="0">
              <a:latin typeface="+mn-ea"/>
            </a:endParaRPr>
          </a:p>
          <a:p>
            <a:pPr lvl="1"/>
            <a:r>
              <a:rPr lang="zh-CN" altLang="en-US" sz="2200" dirty="0">
                <a:latin typeface="+mn-ea"/>
              </a:rPr>
              <a:t>双方签订</a:t>
            </a:r>
            <a:endParaRPr lang="en-US" altLang="zh-CN" sz="2200" dirty="0">
              <a:latin typeface="+mn-ea"/>
            </a:endParaRPr>
          </a:p>
          <a:p>
            <a:pPr lvl="1"/>
            <a:r>
              <a:rPr lang="zh-CN" altLang="en-US" sz="2200" dirty="0">
                <a:latin typeface="+mn-ea"/>
              </a:rPr>
              <a:t>上传电子档</a:t>
            </a:r>
            <a:endParaRPr lang="en-US" altLang="zh-CN" sz="2200" dirty="0">
              <a:latin typeface="+mn-ea"/>
            </a:endParaRPr>
          </a:p>
          <a:p>
            <a:r>
              <a:rPr lang="zh-CN" altLang="en-US" sz="2400" dirty="0">
                <a:latin typeface="+mn-ea"/>
              </a:rPr>
              <a:t>数据表及业务流程重构程度较大，未完全编写完毕</a:t>
            </a:r>
            <a:endParaRPr lang="en-US" altLang="zh-CN" sz="2400" dirty="0">
              <a:latin typeface="+mn-ea"/>
            </a:endParaRPr>
          </a:p>
          <a:p>
            <a:pPr lvl="1"/>
            <a:endParaRPr lang="en-US" altLang="zh-CN" sz="2200" dirty="0">
              <a:latin typeface="+mn-ea"/>
            </a:endParaRPr>
          </a:p>
          <a:p>
            <a:pPr lvl="1"/>
            <a:endParaRPr lang="en-US" altLang="zh-CN" sz="2200" dirty="0">
              <a:latin typeface="+mn-ea"/>
            </a:endParaRPr>
          </a:p>
          <a:p>
            <a:pPr lvl="1"/>
            <a:endParaRPr lang="en-US" altLang="zh-CN" sz="22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698466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1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iḓ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ïṩḻiḓ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lîḍe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ṡ1íḍ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/>
              <a:t>Thanks</a:t>
            </a:r>
            <a:br>
              <a:rPr lang="en-US" altLang="zh-CN"/>
            </a:br>
            <a:endParaRPr lang="zh-CN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025751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lî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ïṣľîḓe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955709" cy="4083608"/>
            <a:chOff x="757282" y="1700808"/>
            <a:chExt cx="10955709" cy="4083608"/>
          </a:xfrm>
        </p:grpSpPr>
        <p:grpSp>
          <p:nvGrpSpPr>
            <p:cNvPr id="6" name="iṥlíd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955709" cy="4083608"/>
              <a:chOff x="1175743" y="1700808"/>
              <a:chExt cx="10529765" cy="4083608"/>
            </a:xfrm>
          </p:grpSpPr>
          <p:sp>
            <p:nvSpPr>
              <p:cNvPr id="7" name="iṩḻîḓe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4007213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ïś1idê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ïṣ1îḋê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ïṣ1íḍè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文本框 10">
            <a:extLst>
              <a:ext uri="{FF2B5EF4-FFF2-40B4-BE49-F238E27FC236}">
                <a16:creationId xmlns:a16="http://schemas.microsoft.com/office/drawing/2014/main" id="{02C3A315-024E-7D13-7D74-2991BD983A70}"/>
              </a:ext>
            </a:extLst>
          </p:cNvPr>
          <p:cNvSpPr txBox="1"/>
          <p:nvPr/>
        </p:nvSpPr>
        <p:spPr>
          <a:xfrm>
            <a:off x="3380372" y="1780800"/>
            <a:ext cx="60960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zh-CN" altLang="en-US" sz="2000" dirty="0"/>
              <a:t>流程细化</a:t>
            </a:r>
            <a:endParaRPr lang="en-US" altLang="zh-CN" sz="20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zh-CN" altLang="en-US" sz="2000" dirty="0"/>
              <a:t>数据表结构重构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zh-CN" altLang="en-US" sz="2000" dirty="0"/>
              <a:t>代码重构</a:t>
            </a:r>
            <a:endParaRPr lang="en-US" altLang="zh-CN" sz="20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l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sľiḓé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流程细化</a:t>
            </a:r>
          </a:p>
        </p:txBody>
      </p:sp>
      <p:sp>
        <p:nvSpPr>
          <p:cNvPr id="9" name="ïŝľîḓ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A274144E-1753-4FCE-9833-F066B1296E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19373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7731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A274144E-1753-4FCE-9833-F066B1296E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080001"/>
            <a:ext cx="12191999" cy="19373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810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A274144E-1753-4FCE-9833-F066B1296E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250312"/>
            <a:ext cx="12191999" cy="19373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3665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A274144E-1753-4FCE-9833-F066B1296E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515047"/>
            <a:ext cx="12191999" cy="19373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0554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l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sľiḓé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数据表结构重构</a:t>
            </a:r>
          </a:p>
        </p:txBody>
      </p:sp>
      <p:sp>
        <p:nvSpPr>
          <p:cNvPr id="9" name="ïŝľîḓ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278732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ṣ1îḑe">
            <a:extLst>
              <a:ext uri="{FF2B5EF4-FFF2-40B4-BE49-F238E27FC236}">
                <a16:creationId xmlns:a16="http://schemas.microsoft.com/office/drawing/2014/main" id="{812C5D07-E498-416B-810F-7BFB62B8D477}"/>
              </a:ext>
            </a:extLst>
          </p:cNvPr>
          <p:cNvSpPr txBox="1">
            <a:spLocks/>
          </p:cNvSpPr>
          <p:nvPr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数据表结构重构（增加的内容）</a:t>
            </a:r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070D7B8E-A72F-4A02-A877-41D4D68317E4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>
                <a:latin typeface="+mn-ea"/>
              </a:rPr>
              <a:t>委托：</a:t>
            </a:r>
            <a:endParaRPr lang="en-US" altLang="zh-CN" sz="2400" dirty="0">
              <a:latin typeface="+mn-ea"/>
            </a:endParaRPr>
          </a:p>
          <a:p>
            <a:pPr lvl="1"/>
            <a:r>
              <a:rPr lang="zh-CN" altLang="en-US" sz="2200" dirty="0">
                <a:latin typeface="+mn-ea"/>
              </a:rPr>
              <a:t>市场部，市场部两重审核</a:t>
            </a:r>
            <a:endParaRPr lang="en-US" altLang="zh-CN" sz="2200" dirty="0">
              <a:latin typeface="+mn-ea"/>
            </a:endParaRPr>
          </a:p>
          <a:p>
            <a:pPr lvl="1"/>
            <a:r>
              <a:rPr lang="zh-CN" altLang="en-US" sz="2200" dirty="0">
                <a:latin typeface="+mn-ea"/>
              </a:rPr>
              <a:t>报价单</a:t>
            </a:r>
            <a:endParaRPr lang="en-US" altLang="zh-CN" sz="2200" dirty="0">
              <a:latin typeface="+mn-ea"/>
            </a:endParaRPr>
          </a:p>
          <a:p>
            <a:pPr lvl="1"/>
            <a:r>
              <a:rPr lang="zh-CN" altLang="en-US" sz="2200" dirty="0">
                <a:latin typeface="+mn-ea"/>
              </a:rPr>
              <a:t>文档评审表</a:t>
            </a:r>
            <a:endParaRPr lang="en-US" altLang="zh-CN" sz="2200" dirty="0">
              <a:latin typeface="+mn-ea"/>
            </a:endParaRPr>
          </a:p>
          <a:p>
            <a:r>
              <a:rPr lang="zh-CN" altLang="en-US" sz="2400" dirty="0">
                <a:latin typeface="+mn-ea"/>
              </a:rPr>
              <a:t>合同：</a:t>
            </a:r>
            <a:endParaRPr lang="en-US" altLang="zh-CN" sz="2400" dirty="0">
              <a:latin typeface="+mn-ea"/>
            </a:endParaRPr>
          </a:p>
          <a:p>
            <a:pPr lvl="1"/>
            <a:r>
              <a:rPr lang="zh-CN" altLang="en-US" sz="2200" dirty="0">
                <a:latin typeface="+mn-ea"/>
              </a:rPr>
              <a:t>市场部人员编写合同草稿</a:t>
            </a:r>
            <a:endParaRPr lang="en-US" altLang="zh-CN" sz="2200" dirty="0">
              <a:latin typeface="+mn-ea"/>
            </a:endParaRPr>
          </a:p>
          <a:p>
            <a:r>
              <a:rPr lang="zh-CN" altLang="en-US" sz="2400" dirty="0">
                <a:latin typeface="+mn-ea"/>
              </a:rPr>
              <a:t>测试方案：</a:t>
            </a:r>
            <a:endParaRPr lang="en-US" altLang="zh-CN" sz="2400" dirty="0">
              <a:latin typeface="+mn-ea"/>
            </a:endParaRPr>
          </a:p>
          <a:p>
            <a:pPr lvl="1"/>
            <a:r>
              <a:rPr lang="zh-CN" altLang="en-US" sz="2200" dirty="0">
                <a:latin typeface="+mn-ea"/>
              </a:rPr>
              <a:t>测试方案评审表</a:t>
            </a:r>
            <a:endParaRPr lang="en-US" altLang="zh-CN" sz="2200" dirty="0">
              <a:latin typeface="+mn-ea"/>
            </a:endParaRPr>
          </a:p>
          <a:p>
            <a:r>
              <a:rPr lang="zh-CN" altLang="en-US" sz="2400" dirty="0">
                <a:latin typeface="+mn-ea"/>
              </a:rPr>
              <a:t>测试报告：</a:t>
            </a:r>
            <a:endParaRPr lang="en-US" altLang="zh-CN" sz="2400" dirty="0">
              <a:latin typeface="+mn-ea"/>
            </a:endParaRPr>
          </a:p>
          <a:p>
            <a:pPr lvl="1"/>
            <a:r>
              <a:rPr lang="zh-CN" altLang="en-US" sz="2200" dirty="0">
                <a:latin typeface="+mn-ea"/>
              </a:rPr>
              <a:t>测试部主管</a:t>
            </a:r>
            <a:endParaRPr lang="en-US" altLang="zh-CN" sz="2200" dirty="0">
              <a:latin typeface="+mn-ea"/>
            </a:endParaRPr>
          </a:p>
          <a:p>
            <a:pPr lvl="1"/>
            <a:r>
              <a:rPr lang="zh-CN" altLang="en-US" sz="2200" dirty="0">
                <a:latin typeface="+mn-ea"/>
              </a:rPr>
              <a:t>签字人</a:t>
            </a:r>
            <a:endParaRPr lang="en-US" altLang="zh-CN" sz="2200" dirty="0">
              <a:latin typeface="+mn-ea"/>
            </a:endParaRPr>
          </a:p>
          <a:p>
            <a:pPr lvl="1"/>
            <a:endParaRPr lang="en-US" altLang="zh-CN" sz="2200" dirty="0">
              <a:latin typeface="+mn-ea"/>
            </a:endParaRPr>
          </a:p>
          <a:p>
            <a:pPr lvl="1"/>
            <a:endParaRPr lang="en-US" altLang="zh-CN" sz="2200" dirty="0">
              <a:latin typeface="+mn-ea"/>
            </a:endParaRPr>
          </a:p>
          <a:p>
            <a:pPr lvl="1"/>
            <a:endParaRPr lang="en-US" altLang="zh-CN" sz="22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665097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8116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E81C3"/>
      </a:accent1>
      <a:accent2>
        <a:srgbClr val="14879E"/>
      </a:accent2>
      <a:accent3>
        <a:srgbClr val="3EA592"/>
      </a:accent3>
      <a:accent4>
        <a:srgbClr val="5066A2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26</TotalTime>
  <Words>108</Words>
  <Application>Microsoft Office PowerPoint</Application>
  <PresentationFormat>宽屏</PresentationFormat>
  <Paragraphs>37</Paragraphs>
  <Slides>1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1" baseType="lpstr">
      <vt:lpstr>Roboto</vt:lpstr>
      <vt:lpstr>等线</vt:lpstr>
      <vt:lpstr>宋体</vt:lpstr>
      <vt:lpstr>微软雅黑</vt:lpstr>
      <vt:lpstr>Arial</vt:lpstr>
      <vt:lpstr>Calibri</vt:lpstr>
      <vt:lpstr>Impact</vt:lpstr>
      <vt:lpstr>主题5</vt:lpstr>
      <vt:lpstr>think-cell Slide</vt:lpstr>
      <vt:lpstr>B组软件工程综合实验汇报</vt:lpstr>
      <vt:lpstr>PowerPoint 演示文稿</vt:lpstr>
      <vt:lpstr>流程细化</vt:lpstr>
      <vt:lpstr>PowerPoint 演示文稿</vt:lpstr>
      <vt:lpstr>PowerPoint 演示文稿</vt:lpstr>
      <vt:lpstr>PowerPoint 演示文稿</vt:lpstr>
      <vt:lpstr>PowerPoint 演示文稿</vt:lpstr>
      <vt:lpstr>数据表结构重构</vt:lpstr>
      <vt:lpstr>PowerPoint 演示文稿</vt:lpstr>
      <vt:lpstr>代码重构</vt:lpstr>
      <vt:lpstr>PowerPoint 演示文稿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1348288404@qq.com</cp:lastModifiedBy>
  <cp:revision>54</cp:revision>
  <cp:lastPrinted>2019-06-05T16:00:00Z</cp:lastPrinted>
  <dcterms:created xsi:type="dcterms:W3CDTF">2019-06-05T16:00:00Z</dcterms:created>
  <dcterms:modified xsi:type="dcterms:W3CDTF">2022-05-09T04:4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